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4007" r:id="rId5"/>
    <p:sldId id="2134806550" r:id="rId6"/>
    <p:sldId id="2134806560" r:id="rId7"/>
    <p:sldId id="2134806555" r:id="rId8"/>
    <p:sldId id="2134806553" r:id="rId9"/>
    <p:sldId id="2134806554" r:id="rId10"/>
  </p:sldIdLst>
  <p:sldSz cx="12192000" cy="6858000"/>
  <p:notesSz cx="6797675" cy="9926638"/>
  <p:custDataLst>
    <p:tags r:id="rId12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vsnitt" id="{419B577D-D0C4-4B87-A1D2-83AD9F423015}">
          <p14:sldIdLst>
            <p14:sldId id="4007"/>
            <p14:sldId id="2134806550"/>
            <p14:sldId id="2134806560"/>
            <p14:sldId id="2134806555"/>
            <p14:sldId id="2134806553"/>
            <p14:sldId id="213480655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7B2711-7E09-1AE8-EABE-15AE90B55932}" name="Sofia Eng" initials="SE" userId="S::sofia.eng@NODESmarket.com::4d6632a5-35fc-4f9d-b68e-4cfa5b8e3b2f" providerId="AD"/>
  <p188:author id="{2F557672-B33F-5715-D044-01C3C26C5301}" name="Magnus Westman Larsson" initials="MWL" userId="S::magnus.b.larsson@ellevio.se::7bb3e792-4006-499e-a28a-2d773887266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nus Westman Larsson" initials="MWL" lastIdx="2" clrIdx="0">
    <p:extLst>
      <p:ext uri="{19B8F6BF-5375-455C-9EA6-DF929625EA0E}">
        <p15:presenceInfo xmlns:p15="http://schemas.microsoft.com/office/powerpoint/2012/main" userId="S::magnus.b.larsson@ellevio.se::7bb3e792-4006-499e-a28a-2d7738872662" providerId="AD"/>
      </p:ext>
    </p:extLst>
  </p:cmAuthor>
  <p:cmAuthor id="2" name="Andersson Staffan (DS-KEC)" initials="AS(" lastIdx="5" clrIdx="1">
    <p:extLst>
      <p:ext uri="{19B8F6BF-5375-455C-9EA6-DF929625EA0E}">
        <p15:presenceInfo xmlns:p15="http://schemas.microsoft.com/office/powerpoint/2012/main" userId="S::bdo06@eur.corp.vattenfall.com::2a65c8d5-0dbb-42c9-8a67-4e609d109f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005C"/>
    <a:srgbClr val="FF8BC5"/>
    <a:srgbClr val="FFD5F4"/>
    <a:srgbClr val="FFB7EC"/>
    <a:srgbClr val="FFFFFF"/>
    <a:srgbClr val="E7E6E6"/>
    <a:srgbClr val="CDCDCD"/>
    <a:srgbClr val="9AD6A0"/>
    <a:srgbClr val="A8DCAD"/>
    <a:srgbClr val="8FD1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03" autoAdjust="0"/>
    <p:restoredTop sz="94660"/>
  </p:normalViewPr>
  <p:slideViewPr>
    <p:cSldViewPr snapToGrid="0">
      <p:cViewPr varScale="1">
        <p:scale>
          <a:sx n="75" d="100"/>
          <a:sy n="75" d="100"/>
        </p:scale>
        <p:origin x="34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6009CE-0E85-4F30-B839-9B748467EAA3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7C3FFC-6051-42E4-ABBA-F69D489B630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25591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/>
              <a:t>Svk</a:t>
            </a:r>
            <a:r>
              <a:rPr lang="sv-SE" dirty="0"/>
              <a:t> – agenda + intro</a:t>
            </a:r>
            <a:r>
              <a:rPr lang="sv-SE" baseline="0" dirty="0"/>
              <a:t> (bild 1-3, 4)</a:t>
            </a:r>
            <a:endParaRPr lang="sv-S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aseline="0" dirty="0"/>
              <a:t>VF – affärsmodeller (bild 5-12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aseline="0" dirty="0" err="1"/>
              <a:t>Svk</a:t>
            </a:r>
            <a:r>
              <a:rPr lang="sv-SE" baseline="0" dirty="0"/>
              <a:t> – </a:t>
            </a:r>
            <a:r>
              <a:rPr lang="sv-SE" baseline="0" dirty="0" err="1"/>
              <a:t>mFRR</a:t>
            </a:r>
            <a:r>
              <a:rPr lang="sv-SE" baseline="0" dirty="0"/>
              <a:t> (bild 13-14)</a:t>
            </a:r>
          </a:p>
          <a:p>
            <a:r>
              <a:rPr lang="sv-SE" dirty="0" err="1"/>
              <a:t>Ellevio</a:t>
            </a:r>
            <a:r>
              <a:rPr lang="sv-SE" baseline="0" dirty="0"/>
              <a:t>  - hur man gör + nästa steg (bild 15-21)</a:t>
            </a:r>
          </a:p>
          <a:p>
            <a:r>
              <a:rPr lang="sv-SE" baseline="0" dirty="0"/>
              <a:t>NODES – genomgång (bild 22-25)</a:t>
            </a:r>
          </a:p>
          <a:p>
            <a:r>
              <a:rPr lang="sv-SE" baseline="0" dirty="0" err="1"/>
              <a:t>Svk</a:t>
            </a:r>
            <a:r>
              <a:rPr lang="sv-SE" baseline="0" dirty="0"/>
              <a:t> – avslutning (bild 26)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2E087-C258-4947-A939-098766D24B2F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63553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E34A2AF-B71A-406D-AC29-F1F3F2DCB4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B7E26801-6179-46D3-BBAB-7AA80CD707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365F6B2-97AA-45C0-93B7-D75B00E68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1075F79-212A-4412-A217-F848A19BF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4CF2DF9-199E-43E5-A715-067725A0F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44510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6986340-AF23-402E-9B12-71DB6C970D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7133AAF0-812F-4293-9EBD-2CA2964DEA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8B0FD09-3344-4446-B9C9-C2AD62F8A2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7F162B7-A7E0-4E48-8950-E22D8F6A6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BAEF2F9-4907-4661-B470-2D35CECA77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574455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9D977C1A-E91E-4DC1-859B-296C08B4A20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1181B554-84FB-44E6-98EC-BEC6F47B6A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D5ED5D4-4F08-407A-8006-13A8F77E0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BBA71CE-1C00-4F41-9872-D742AC46F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47AFD05-A137-493D-B16D-525A4FE20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622381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6993069-47CE-4A3B-9FBB-539F98DA1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97BCBA5-4935-4962-9C10-BBD7488BA9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A8339D5-4F67-497A-8889-ED5179DE5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8FB6D42-2E1C-42D0-A33C-36FB15447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16FD35AD-1BEE-488E-BA02-64B974071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92271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241DE9-8B8B-403C-BD74-5DD0420D9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DF5413F7-B692-4C79-A4C3-1453FFD102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BA18470-5D36-4F23-AF30-FF7411062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1DB9AB1-4858-44C2-8023-27430D16E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5643E29-61D0-4D6F-910B-5792C3E17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83664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47E438C-1EFE-43CF-8B85-3736FD752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6A66E63-19A7-4CF8-887D-E4CD25B592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77B99EF4-74CE-45B0-B179-8D1F4610A2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DE8E36CE-A1DD-4F2F-9B92-CC4263722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D5AA5A1-622F-4CCB-8386-498B42F69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2DC9F820-7FA5-4BB0-9B09-A073A2529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42907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04B8246-6E65-426E-97D9-702C18C06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8D5869D-D67A-45C8-8EDE-1D8D3EC728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06B41D7-08A3-4260-ACA1-35CAB2E3E8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1433A516-B643-4704-BCBA-C38877D64C1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3171C760-0EC8-4C51-BC8E-E680D100FB8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A2948A1F-5EF7-4F69-BC6F-C9215B86D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E24DCCF2-FC7A-45BB-AA4D-3E0F41316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CEAE2C38-CA17-44AD-8FD7-F863EB4F0D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83350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794444E-A66B-4760-A796-7EF751434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658B1B6-0DD5-48F4-B5CC-D276368F0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8ACB2F0-6784-4DC4-91E4-D70F6ACE7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2F93938-7020-4125-A41D-38A0407C1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25277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EBC45CB5-A554-44DB-BB95-8C667D867D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3E56CB97-9D0A-47F8-86EE-9B01778CF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F2A2C1C-96E1-4507-9911-CBF991E6F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6057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C568977-E302-41F0-B43E-D16156A61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7873EB6-1EF2-4130-94BC-DB8D8300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5BA437D-0380-4313-B8DC-045236D285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E0AADF48-3B68-49F3-A04A-BE451810B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BDB89ACA-EB9B-4892-B516-D93E5A1199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F46BC52B-596E-415D-B785-E43EA39D0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2677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4AB2D5-7C4C-48FA-86B8-2DAECFB41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803B7D43-DA98-43AD-AA9D-D2F888F58B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BA905FC3-2F7A-48F9-BA85-81E08DC43B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A434078-202F-4E14-BBD7-DC0537227E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D799282-2368-4326-9DAF-B31114F74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D19FBBAF-C174-4B69-A291-B5D3683B1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183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61781B-80E0-4F5C-B485-E8CF8376D3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03149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61781B-80E0-4F5C-B485-E8CF8376D3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EFEC0098-74B2-4C51-9FBF-50F2DA7EC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06B7F95-DBC7-4E4D-B625-CFF7196040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8994C73-75EB-4117-8E0C-6C9A327F9E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4E3BA8-2236-4F84-97AB-90739B0E29C1}" type="datetimeFigureOut">
              <a:rPr lang="sv-SE" smtClean="0"/>
              <a:t>2023-04-1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3C21936-2FE8-4BDF-9F3D-2C3DA3B1ED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02B61C7-6994-4484-8ADD-DC2E9D5649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  <p:sp>
        <p:nvSpPr>
          <p:cNvPr id="7" name="MSIPCMContentMarking" descr="{&quot;HashCode&quot;:-1360946790,&quot;Placement&quot;:&quot;Footer&quot;,&quot;Top&quot;:525.346863,&quot;Left&quot;:0.0,&quot;SlideWidth&quot;:960,&quot;SlideHeight&quot;:540}">
            <a:extLst>
              <a:ext uri="{FF2B5EF4-FFF2-40B4-BE49-F238E27FC236}">
                <a16:creationId xmlns:a16="http://schemas.microsoft.com/office/drawing/2014/main" id="{779909BF-4449-4DB5-9194-3593ACC6EE7D}"/>
              </a:ext>
            </a:extLst>
          </p:cNvPr>
          <p:cNvSpPr txBox="1"/>
          <p:nvPr userDrawn="1"/>
        </p:nvSpPr>
        <p:spPr>
          <a:xfrm>
            <a:off x="0" y="6671905"/>
            <a:ext cx="1113468" cy="18609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</a:rPr>
              <a:t>Confidentiality: C1 - Public</a:t>
            </a:r>
          </a:p>
        </p:txBody>
      </p:sp>
    </p:spTree>
    <p:extLst>
      <p:ext uri="{BB962C8B-B14F-4D97-AF65-F5344CB8AC3E}">
        <p14:creationId xmlns:p14="http://schemas.microsoft.com/office/powerpoint/2010/main" val="1323266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660B0B6-5631-43A3-B96B-4C0154CD7E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9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660B0B6-5631-43A3-B96B-4C0154CD7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040FECA-F9A9-4DB2-99C9-36CE5228FB33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4" name="Platshållare för innehåll 3"/>
          <p:cNvPicPr>
            <a:picLocks noGrp="1" noChangeAspect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41"/>
          <a:stretch/>
        </p:blipFill>
        <p:spPr>
          <a:xfrm>
            <a:off x="720436" y="600292"/>
            <a:ext cx="10751127" cy="4517973"/>
          </a:xfrm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79B01B16-BA5E-4E6D-9971-FF3AE0147B08}"/>
              </a:ext>
            </a:extLst>
          </p:cNvPr>
          <p:cNvSpPr txBox="1"/>
          <p:nvPr/>
        </p:nvSpPr>
        <p:spPr>
          <a:xfrm>
            <a:off x="6020332" y="5567906"/>
            <a:ext cx="22694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ttenfall Eldistribution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D480C986-04ED-452A-8EC2-1993D6781096}"/>
              </a:ext>
            </a:extLst>
          </p:cNvPr>
          <p:cNvSpPr txBox="1"/>
          <p:nvPr/>
        </p:nvSpPr>
        <p:spPr>
          <a:xfrm>
            <a:off x="3909328" y="3814354"/>
            <a:ext cx="4380411" cy="539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bg1"/>
                </a:solidFill>
              </a:rPr>
              <a:t>En</a:t>
            </a:r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en-US" sz="2800" dirty="0" err="1">
                <a:solidFill>
                  <a:schemeClr val="bg1"/>
                </a:solidFill>
              </a:rPr>
              <a:t>introduktion</a:t>
            </a:r>
            <a:r>
              <a:rPr lang="en-US" sz="2800" dirty="0">
                <a:solidFill>
                  <a:schemeClr val="bg1"/>
                </a:solidFill>
              </a:rPr>
              <a:t> till sthlmflex</a:t>
            </a:r>
            <a:endParaRPr lang="sv-SE" sz="2800" dirty="0">
              <a:solidFill>
                <a:schemeClr val="bg1"/>
              </a:solidFill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D480C986-04ED-452A-8EC2-1993D6781096}"/>
              </a:ext>
            </a:extLst>
          </p:cNvPr>
          <p:cNvSpPr txBox="1"/>
          <p:nvPr/>
        </p:nvSpPr>
        <p:spPr>
          <a:xfrm>
            <a:off x="3909328" y="1112718"/>
            <a:ext cx="4380411" cy="539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bg1"/>
                </a:solidFill>
              </a:rPr>
              <a:t>Dialogmöte</a:t>
            </a:r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en-US" sz="2800" dirty="0" smtClean="0">
                <a:solidFill>
                  <a:schemeClr val="bg1"/>
                </a:solidFill>
              </a:rPr>
              <a:t>2023-01-25</a:t>
            </a:r>
            <a:endParaRPr lang="sv-SE" sz="2800" dirty="0">
              <a:solidFill>
                <a:schemeClr val="bg1"/>
              </a:solidFill>
            </a:endParaRPr>
          </a:p>
        </p:txBody>
      </p:sp>
      <p:pic>
        <p:nvPicPr>
          <p:cNvPr id="5144" name="Picture 24" descr="File:EON Logo.svg - Wikimedia Commons"/>
          <p:cNvPicPr>
            <a:picLocks noChangeAspect="1" noChangeArrowheads="1"/>
          </p:cNvPicPr>
          <p:nvPr/>
        </p:nvPicPr>
        <p:blipFill>
          <a:blip r:embed="rId7" cstate="hq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902" y="5135166"/>
            <a:ext cx="1672380" cy="487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latshållare för innehåll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524" b="3943"/>
          <a:stretch/>
        </p:blipFill>
        <p:spPr>
          <a:xfrm>
            <a:off x="-99355" y="4991309"/>
            <a:ext cx="9375569" cy="76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63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9625149" cy="879596"/>
          </a:xfrm>
        </p:spPr>
        <p:txBody>
          <a:bodyPr vert="horz">
            <a:normAutofit/>
          </a:bodyPr>
          <a:lstStyle/>
          <a:p>
            <a:r>
              <a:rPr lang="sv-SE" sz="3600" dirty="0"/>
              <a:t>Välkomna!</a:t>
            </a:r>
          </a:p>
        </p:txBody>
      </p:sp>
      <p:pic>
        <p:nvPicPr>
          <p:cNvPr id="34" name="Bildobjekt 3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376" y="2992717"/>
            <a:ext cx="1486176" cy="438422"/>
          </a:xfrm>
          <a:prstGeom prst="rect">
            <a:avLst/>
          </a:prstGeom>
        </p:spPr>
      </p:pic>
      <p:pic>
        <p:nvPicPr>
          <p:cNvPr id="35" name="Bildobjekt 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0707" y="2992717"/>
            <a:ext cx="2577157" cy="397647"/>
          </a:xfrm>
          <a:prstGeom prst="rect">
            <a:avLst/>
          </a:prstGeom>
        </p:spPr>
      </p:pic>
      <p:pic>
        <p:nvPicPr>
          <p:cNvPr id="36" name="Bildobjekt 3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314" y="3021752"/>
            <a:ext cx="1985818" cy="407248"/>
          </a:xfrm>
          <a:prstGeom prst="rect">
            <a:avLst/>
          </a:prstGeom>
        </p:spPr>
      </p:pic>
      <p:sp>
        <p:nvSpPr>
          <p:cNvPr id="37" name="textruta 36"/>
          <p:cNvSpPr txBox="1"/>
          <p:nvPr/>
        </p:nvSpPr>
        <p:spPr>
          <a:xfrm>
            <a:off x="361428" y="3647843"/>
            <a:ext cx="1795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Monika </a:t>
            </a:r>
            <a:r>
              <a:rPr lang="sv-SE" dirty="0" err="1"/>
              <a:t>Topel</a:t>
            </a:r>
            <a:endParaRPr lang="sv-SE" dirty="0"/>
          </a:p>
        </p:txBody>
      </p:sp>
      <p:sp>
        <p:nvSpPr>
          <p:cNvPr id="38" name="textruta 37"/>
          <p:cNvSpPr txBox="1"/>
          <p:nvPr/>
        </p:nvSpPr>
        <p:spPr>
          <a:xfrm>
            <a:off x="2308303" y="3678612"/>
            <a:ext cx="19858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Magnus Larsson</a:t>
            </a:r>
          </a:p>
        </p:txBody>
      </p:sp>
      <p:sp>
        <p:nvSpPr>
          <p:cNvPr id="39" name="textruta 38"/>
          <p:cNvSpPr txBox="1"/>
          <p:nvPr/>
        </p:nvSpPr>
        <p:spPr>
          <a:xfrm>
            <a:off x="4562633" y="3678612"/>
            <a:ext cx="2577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Yvonne </a:t>
            </a:r>
            <a:r>
              <a:rPr lang="sv-SE" dirty="0" err="1"/>
              <a:t>Ruwaida</a:t>
            </a:r>
            <a:endParaRPr lang="sv-SE" dirty="0"/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38A0917A-B789-43A3-AAB1-FFC7C467B238}"/>
              </a:ext>
            </a:extLst>
          </p:cNvPr>
          <p:cNvSpPr txBox="1"/>
          <p:nvPr/>
        </p:nvSpPr>
        <p:spPr>
          <a:xfrm>
            <a:off x="5518446" y="3356569"/>
            <a:ext cx="22694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ttenfall Eldistribution</a:t>
            </a:r>
          </a:p>
        </p:txBody>
      </p:sp>
      <p:sp>
        <p:nvSpPr>
          <p:cNvPr id="17" name="textruta 16"/>
          <p:cNvSpPr txBox="1"/>
          <p:nvPr/>
        </p:nvSpPr>
        <p:spPr>
          <a:xfrm>
            <a:off x="9182823" y="3678612"/>
            <a:ext cx="2095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Sofia Eng</a:t>
            </a:r>
          </a:p>
        </p:txBody>
      </p:sp>
      <p:pic>
        <p:nvPicPr>
          <p:cNvPr id="19" name="Bildobjekt 18">
            <a:extLst>
              <a:ext uri="{FF2B5EF4-FFF2-40B4-BE49-F238E27FC236}">
                <a16:creationId xmlns:a16="http://schemas.microsoft.com/office/drawing/2014/main" id="{9C6081FC-73BA-4759-95F8-5C1885EEE3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06695" y="2938405"/>
            <a:ext cx="2095500" cy="638175"/>
          </a:xfrm>
          <a:prstGeom prst="rect">
            <a:avLst/>
          </a:prstGeom>
        </p:spPr>
      </p:pic>
      <p:pic>
        <p:nvPicPr>
          <p:cNvPr id="6168" name="Picture 24" descr="File:EON Logo.svg - Wikimedia Commons"/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704" y="3006718"/>
            <a:ext cx="1449119" cy="422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ruta 19"/>
          <p:cNvSpPr txBox="1"/>
          <p:nvPr/>
        </p:nvSpPr>
        <p:spPr>
          <a:xfrm>
            <a:off x="7372566" y="3678612"/>
            <a:ext cx="2095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Håkan Borgstrand</a:t>
            </a:r>
          </a:p>
        </p:txBody>
      </p:sp>
    </p:spTree>
    <p:extLst>
      <p:ext uri="{BB962C8B-B14F-4D97-AF65-F5344CB8AC3E}">
        <p14:creationId xmlns:p14="http://schemas.microsoft.com/office/powerpoint/2010/main" val="7373448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7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1140044" cy="879596"/>
          </a:xfrm>
        </p:spPr>
        <p:txBody>
          <a:bodyPr vert="horz">
            <a:noAutofit/>
          </a:bodyPr>
          <a:lstStyle/>
          <a:p>
            <a:r>
              <a:rPr lang="sv-SE" sz="3200" dirty="0"/>
              <a:t>D</a:t>
            </a:r>
            <a:r>
              <a:rPr lang="sv-SE" sz="3200" dirty="0" smtClean="0"/>
              <a:t>ialogmöte</a:t>
            </a:r>
            <a:r>
              <a:rPr lang="sv-SE" sz="2400" dirty="0"/>
              <a:t>: </a:t>
            </a:r>
            <a:r>
              <a:rPr lang="sv-SE" sz="3200" dirty="0"/>
              <a:t>informera och diskutera avrop, tillgänglighetsavrop och marknadsläget under nuvarande säsongen </a:t>
            </a:r>
            <a:endParaRPr lang="sv-SE" sz="2400" dirty="0"/>
          </a:p>
        </p:txBody>
      </p:sp>
      <p:sp>
        <p:nvSpPr>
          <p:cNvPr id="2" name="Platshållare för innehåll 1"/>
          <p:cNvSpPr>
            <a:spLocks noGrp="1"/>
          </p:cNvSpPr>
          <p:nvPr>
            <p:ph sz="half" idx="1"/>
          </p:nvPr>
        </p:nvSpPr>
        <p:spPr>
          <a:xfrm>
            <a:off x="193467" y="1540617"/>
            <a:ext cx="10269881" cy="435133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sv-SE" b="1" dirty="0"/>
              <a:t>Agenda </a:t>
            </a:r>
          </a:p>
          <a:p>
            <a:pPr lvl="0"/>
            <a:r>
              <a:rPr lang="sv-SE" sz="2200" dirty="0" smtClean="0"/>
              <a:t>Marknadsstatistik </a:t>
            </a:r>
            <a:r>
              <a:rPr lang="sv-SE" sz="2200" dirty="0"/>
              <a:t>och avrop (volymer, garantivolymen och priser)                              </a:t>
            </a:r>
            <a:r>
              <a:rPr lang="sv-SE" sz="2200" i="1" dirty="0"/>
              <a:t>Yvonne</a:t>
            </a:r>
            <a:endParaRPr lang="sv-SE" sz="2200" dirty="0"/>
          </a:p>
          <a:p>
            <a:r>
              <a:rPr lang="sv-SE" sz="2200" dirty="0"/>
              <a:t>Testavrop och </a:t>
            </a:r>
            <a:r>
              <a:rPr lang="sv-SE" sz="2200" dirty="0" err="1"/>
              <a:t>baseline</a:t>
            </a:r>
            <a:r>
              <a:rPr lang="sv-SE" sz="2200" dirty="0"/>
              <a:t> (hur fungerar ert arbete med </a:t>
            </a:r>
            <a:r>
              <a:rPr lang="sv-SE" sz="2200" dirty="0" err="1"/>
              <a:t>baseline</a:t>
            </a:r>
            <a:r>
              <a:rPr lang="sv-SE" sz="2200" dirty="0"/>
              <a:t>)                                  </a:t>
            </a:r>
            <a:r>
              <a:rPr lang="sv-SE" sz="2200" i="1" dirty="0"/>
              <a:t>Magnus </a:t>
            </a:r>
          </a:p>
          <a:p>
            <a:r>
              <a:rPr lang="sv-SE" sz="2200" dirty="0"/>
              <a:t>Energikrisen, elpriserna och marknaden. </a:t>
            </a:r>
          </a:p>
          <a:p>
            <a:pPr lvl="1"/>
            <a:r>
              <a:rPr lang="sv-SE" sz="1900" dirty="0"/>
              <a:t>Hur elnätsbolagen  i </a:t>
            </a:r>
            <a:r>
              <a:rPr lang="sv-SE" sz="1900" dirty="0" err="1"/>
              <a:t>sthlmflex</a:t>
            </a:r>
            <a:r>
              <a:rPr lang="sv-SE" sz="1900" dirty="0"/>
              <a:t> påverkas av energikrisen och </a:t>
            </a:r>
            <a:r>
              <a:rPr lang="sv-SE" sz="1900" dirty="0" smtClean="0"/>
              <a:t>elpriserna         </a:t>
            </a:r>
            <a:r>
              <a:rPr lang="sv-SE" sz="1900" dirty="0"/>
              <a:t>          </a:t>
            </a:r>
            <a:r>
              <a:rPr lang="sv-SE" sz="1900" i="1" dirty="0"/>
              <a:t>Alla elnätsbolag</a:t>
            </a:r>
            <a:endParaRPr lang="sv-SE" sz="1900" dirty="0"/>
          </a:p>
          <a:p>
            <a:pPr lvl="1"/>
            <a:r>
              <a:rPr lang="sv-SE" sz="1900" dirty="0"/>
              <a:t>Hur påverkar energikrisen och  elpriserna </a:t>
            </a:r>
            <a:r>
              <a:rPr lang="sv-SE" sz="1900" dirty="0" err="1"/>
              <a:t>flexleverantörerna</a:t>
            </a:r>
            <a:r>
              <a:rPr lang="sv-SE" sz="1900" dirty="0"/>
              <a:t>?                           </a:t>
            </a:r>
            <a:r>
              <a:rPr lang="sv-SE" sz="1700" b="1" dirty="0"/>
              <a:t>Vi vill höra er erfarenhet!</a:t>
            </a:r>
          </a:p>
          <a:p>
            <a:pPr lvl="0"/>
            <a:r>
              <a:rPr lang="sv-SE" sz="2200" dirty="0"/>
              <a:t>Publicering av priser på NODES hemsida                                                                            </a:t>
            </a:r>
            <a:r>
              <a:rPr lang="sv-SE" sz="2200" i="1" dirty="0"/>
              <a:t>Sofia</a:t>
            </a:r>
            <a:r>
              <a:rPr lang="sv-SE" sz="2200" dirty="0"/>
              <a:t>      </a:t>
            </a:r>
          </a:p>
          <a:p>
            <a:pPr lvl="0"/>
            <a:r>
              <a:rPr lang="sv-SE" sz="2200" dirty="0"/>
              <a:t>Kommande möten (Öppet möte)                                                                                       </a:t>
            </a:r>
            <a:r>
              <a:rPr lang="sv-SE" sz="2200" i="1" dirty="0"/>
              <a:t>Monika</a:t>
            </a:r>
          </a:p>
          <a:p>
            <a:pPr marL="0" lvl="0" indent="0">
              <a:buNone/>
            </a:pPr>
            <a:endParaRPr lang="sv-SE" dirty="0"/>
          </a:p>
          <a:p>
            <a:pPr marL="0" lvl="0" indent="0">
              <a:buNone/>
            </a:pPr>
            <a:endParaRPr lang="sv-SE" dirty="0"/>
          </a:p>
          <a:p>
            <a:pPr lvl="1"/>
            <a:endParaRPr lang="sv-SE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5128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76EAE85-3B6A-4807-8EDA-95547C0E3E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2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76EAE85-3B6A-4807-8EDA-95547C0E3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ktangel: rundade hörn 53">
            <a:extLst>
              <a:ext uri="{FF2B5EF4-FFF2-40B4-BE49-F238E27FC236}">
                <a16:creationId xmlns:a16="http://schemas.microsoft.com/office/drawing/2014/main" id="{FB8C49C8-9F4A-4146-8130-FD4CC7F81AF7}"/>
              </a:ext>
            </a:extLst>
          </p:cNvPr>
          <p:cNvSpPr/>
          <p:nvPr/>
        </p:nvSpPr>
        <p:spPr>
          <a:xfrm>
            <a:off x="396404" y="1619978"/>
            <a:ext cx="4761042" cy="2554473"/>
          </a:xfrm>
          <a:prstGeom prst="round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4" name="Rektangel 83">
            <a:extLst>
              <a:ext uri="{FF2B5EF4-FFF2-40B4-BE49-F238E27FC236}">
                <a16:creationId xmlns:a16="http://schemas.microsoft.com/office/drawing/2014/main" id="{902AE32A-523D-48C3-B5C5-289266FB9E1D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6949AE93-EBD5-4556-8E9B-309347EB0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938" y="365126"/>
            <a:ext cx="9465302" cy="763642"/>
          </a:xfrm>
        </p:spPr>
        <p:txBody>
          <a:bodyPr vert="horz">
            <a:normAutofit fontScale="90000"/>
          </a:bodyPr>
          <a:lstStyle/>
          <a:p>
            <a:r>
              <a:rPr lang="sv-SE" sz="4000" dirty="0"/>
              <a:t>Marknadsstatistik December: </a:t>
            </a:r>
            <a:r>
              <a:rPr lang="sv-SE" sz="4000" b="1" dirty="0" err="1"/>
              <a:t>ShortFlex</a:t>
            </a:r>
            <a:r>
              <a:rPr lang="sv-SE" sz="4000" b="1" dirty="0"/>
              <a:t> </a:t>
            </a:r>
            <a:r>
              <a:rPr lang="sv-SE" sz="4000" b="1" dirty="0" err="1"/>
              <a:t>Availability</a:t>
            </a:r>
            <a:endParaRPr lang="sv-SE" sz="4000" b="1" dirty="0"/>
          </a:p>
        </p:txBody>
      </p:sp>
      <p:pic>
        <p:nvPicPr>
          <p:cNvPr id="87" name="Platshållare för innehåll 3">
            <a:extLst>
              <a:ext uri="{FF2B5EF4-FFF2-40B4-BE49-F238E27FC236}">
                <a16:creationId xmlns:a16="http://schemas.microsoft.com/office/drawing/2014/main" id="{25DB210A-B1FC-40F3-9E55-2E29E14AFE7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32" name="Rektangel: rundade hörn 31">
            <a:extLst>
              <a:ext uri="{FF2B5EF4-FFF2-40B4-BE49-F238E27FC236}">
                <a16:creationId xmlns:a16="http://schemas.microsoft.com/office/drawing/2014/main" id="{4F4FE20C-60A0-494C-86E3-6FA23321EB40}"/>
              </a:ext>
            </a:extLst>
          </p:cNvPr>
          <p:cNvSpPr/>
          <p:nvPr/>
        </p:nvSpPr>
        <p:spPr>
          <a:xfrm>
            <a:off x="5425671" y="1605606"/>
            <a:ext cx="4761042" cy="2568845"/>
          </a:xfrm>
          <a:prstGeom prst="round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4" name="Platshållare för innehåll 4">
            <a:extLst>
              <a:ext uri="{FF2B5EF4-FFF2-40B4-BE49-F238E27FC236}">
                <a16:creationId xmlns:a16="http://schemas.microsoft.com/office/drawing/2014/main" id="{C53283D9-8600-4BB2-942C-E90DB98E640C}"/>
              </a:ext>
            </a:extLst>
          </p:cNvPr>
          <p:cNvSpPr txBox="1">
            <a:spLocks/>
          </p:cNvSpPr>
          <p:nvPr/>
        </p:nvSpPr>
        <p:spPr>
          <a:xfrm>
            <a:off x="664629" y="1800556"/>
            <a:ext cx="4255783" cy="2679630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sv-SE" sz="2000" b="1" u="sng" dirty="0"/>
              <a:t>Volym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Totalt antal bud: 262 </a:t>
            </a:r>
            <a:r>
              <a:rPr lang="sv-SE" sz="2000" b="1" dirty="0" err="1"/>
              <a:t>st</a:t>
            </a:r>
            <a:endParaRPr lang="sv-SE" sz="20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Volym: 186 MWh/h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Genererad ersättning: ca 350 000 k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sz="2000" b="1" dirty="0"/>
          </a:p>
          <a:p>
            <a:pPr marL="0" indent="0">
              <a:spcBef>
                <a:spcPts val="300"/>
              </a:spcBef>
              <a:buFont typeface="Arial" panose="020B0604020202020204" pitchFamily="34" charset="0"/>
              <a:buNone/>
            </a:pPr>
            <a:endParaRPr lang="sv-SE" sz="1100" b="1" dirty="0"/>
          </a:p>
        </p:txBody>
      </p:sp>
      <p:sp>
        <p:nvSpPr>
          <p:cNvPr id="25" name="textruta 24">
            <a:extLst>
              <a:ext uri="{FF2B5EF4-FFF2-40B4-BE49-F238E27FC236}">
                <a16:creationId xmlns:a16="http://schemas.microsoft.com/office/drawing/2014/main" id="{71633327-DA1C-48C5-ADA0-7003F1BE8329}"/>
              </a:ext>
            </a:extLst>
          </p:cNvPr>
          <p:cNvSpPr txBox="1"/>
          <p:nvPr/>
        </p:nvSpPr>
        <p:spPr>
          <a:xfrm>
            <a:off x="3276600" y="118970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sv-SE" sz="1800" b="1" dirty="0"/>
              <a:t>Aviserade tillgänglighetstimmar: 127 h</a:t>
            </a:r>
          </a:p>
        </p:txBody>
      </p:sp>
      <p:sp>
        <p:nvSpPr>
          <p:cNvPr id="26" name="Platshållare för innehåll 4">
            <a:extLst>
              <a:ext uri="{FF2B5EF4-FFF2-40B4-BE49-F238E27FC236}">
                <a16:creationId xmlns:a16="http://schemas.microsoft.com/office/drawing/2014/main" id="{1256A966-AB4C-4616-BAA6-F6D6C183293D}"/>
              </a:ext>
            </a:extLst>
          </p:cNvPr>
          <p:cNvSpPr txBox="1">
            <a:spLocks/>
          </p:cNvSpPr>
          <p:nvPr/>
        </p:nvSpPr>
        <p:spPr>
          <a:xfrm>
            <a:off x="5589555" y="1726533"/>
            <a:ext cx="4255783" cy="2679630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sv-SE" sz="2000" b="1" u="sng" dirty="0"/>
              <a:t>Tillgänglighetsersättning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Max: 2000 kr/MW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Min: 501 kr/MW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Medel: 1937 kr/MW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sz="2000" b="1" dirty="0"/>
          </a:p>
          <a:p>
            <a:pPr marL="0" indent="0">
              <a:spcBef>
                <a:spcPts val="300"/>
              </a:spcBef>
              <a:buFont typeface="Arial" panose="020B0604020202020204" pitchFamily="34" charset="0"/>
              <a:buNone/>
            </a:pPr>
            <a:endParaRPr lang="sv-SE" sz="1100" b="1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2266C5D-F9CC-4BE6-A12F-16096427BE02}"/>
              </a:ext>
            </a:extLst>
          </p:cNvPr>
          <p:cNvSpPr txBox="1"/>
          <p:nvPr/>
        </p:nvSpPr>
        <p:spPr>
          <a:xfrm>
            <a:off x="10466720" y="6426200"/>
            <a:ext cx="1725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Preliminära data</a:t>
            </a:r>
          </a:p>
        </p:txBody>
      </p:sp>
    </p:spTree>
    <p:extLst>
      <p:ext uri="{BB962C8B-B14F-4D97-AF65-F5344CB8AC3E}">
        <p14:creationId xmlns:p14="http://schemas.microsoft.com/office/powerpoint/2010/main" val="3349295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76EAE85-3B6A-4807-8EDA-95547C0E3E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7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76EAE85-3B6A-4807-8EDA-95547C0E3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ktangel: rundade hörn 53">
            <a:extLst>
              <a:ext uri="{FF2B5EF4-FFF2-40B4-BE49-F238E27FC236}">
                <a16:creationId xmlns:a16="http://schemas.microsoft.com/office/drawing/2014/main" id="{FB8C49C8-9F4A-4146-8130-FD4CC7F81AF7}"/>
              </a:ext>
            </a:extLst>
          </p:cNvPr>
          <p:cNvSpPr/>
          <p:nvPr/>
        </p:nvSpPr>
        <p:spPr>
          <a:xfrm>
            <a:off x="396404" y="1619978"/>
            <a:ext cx="4761042" cy="2568845"/>
          </a:xfrm>
          <a:prstGeom prst="round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84" name="Rektangel 83">
            <a:extLst>
              <a:ext uri="{FF2B5EF4-FFF2-40B4-BE49-F238E27FC236}">
                <a16:creationId xmlns:a16="http://schemas.microsoft.com/office/drawing/2014/main" id="{902AE32A-523D-48C3-B5C5-289266FB9E1D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6949AE93-EBD5-4556-8E9B-309347EB0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938" y="365126"/>
            <a:ext cx="9465302" cy="763642"/>
          </a:xfrm>
        </p:spPr>
        <p:txBody>
          <a:bodyPr vert="horz">
            <a:normAutofit/>
          </a:bodyPr>
          <a:lstStyle/>
          <a:p>
            <a:r>
              <a:rPr lang="sv-SE" sz="4000" dirty="0"/>
              <a:t>Marknadsstatistik December: </a:t>
            </a:r>
            <a:r>
              <a:rPr lang="sv-SE" sz="4000" b="1" dirty="0"/>
              <a:t>Avrop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F727567-0158-45CD-ACA6-8A5E790CB5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6403" y="1761741"/>
            <a:ext cx="4825484" cy="1254908"/>
          </a:xfrm>
          <a:noFill/>
          <a:ln>
            <a:noFill/>
          </a:ln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sv-SE" sz="2000" b="1" u="sng" dirty="0"/>
              <a:t>Volymer</a:t>
            </a:r>
          </a:p>
          <a:p>
            <a:pPr marL="0" indent="0">
              <a:buNone/>
            </a:pPr>
            <a:r>
              <a:rPr lang="sv-SE" sz="2000" b="1" dirty="0"/>
              <a:t>Avropade volym totalt: 74 MWh/h</a:t>
            </a:r>
          </a:p>
          <a:p>
            <a:pPr marL="0" indent="0">
              <a:buNone/>
            </a:pPr>
            <a:r>
              <a:rPr lang="sv-SE" sz="2000" b="1" dirty="0"/>
              <a:t>Avropad volym (exklusive tillfälligt abonnemang): 13,43 MWh/h</a:t>
            </a:r>
          </a:p>
          <a:p>
            <a:pPr marL="0" indent="0">
              <a:buNone/>
            </a:pPr>
            <a:r>
              <a:rPr lang="sv-SE" sz="2000" b="1" dirty="0"/>
              <a:t>Avropade bud (exklusive tillfälligt abonnemang): 22 </a:t>
            </a:r>
            <a:r>
              <a:rPr lang="sv-SE" sz="2000" b="1" dirty="0" err="1"/>
              <a:t>st</a:t>
            </a:r>
            <a:endParaRPr lang="sv-SE" sz="2000" b="1" dirty="0"/>
          </a:p>
        </p:txBody>
      </p:sp>
      <p:pic>
        <p:nvPicPr>
          <p:cNvPr id="87" name="Platshållare för innehåll 3">
            <a:extLst>
              <a:ext uri="{FF2B5EF4-FFF2-40B4-BE49-F238E27FC236}">
                <a16:creationId xmlns:a16="http://schemas.microsoft.com/office/drawing/2014/main" id="{25DB210A-B1FC-40F3-9E55-2E29E14AFE7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32" name="Rektangel: rundade hörn 31">
            <a:extLst>
              <a:ext uri="{FF2B5EF4-FFF2-40B4-BE49-F238E27FC236}">
                <a16:creationId xmlns:a16="http://schemas.microsoft.com/office/drawing/2014/main" id="{4F4FE20C-60A0-494C-86E3-6FA23321EB40}"/>
              </a:ext>
            </a:extLst>
          </p:cNvPr>
          <p:cNvSpPr/>
          <p:nvPr/>
        </p:nvSpPr>
        <p:spPr>
          <a:xfrm>
            <a:off x="5352267" y="1605606"/>
            <a:ext cx="4761042" cy="2583217"/>
          </a:xfrm>
          <a:prstGeom prst="round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Platshållare för innehåll 4">
            <a:extLst>
              <a:ext uri="{FF2B5EF4-FFF2-40B4-BE49-F238E27FC236}">
                <a16:creationId xmlns:a16="http://schemas.microsoft.com/office/drawing/2014/main" id="{E68A86C7-8E96-4B3B-8ADD-EA7FB4F63950}"/>
              </a:ext>
            </a:extLst>
          </p:cNvPr>
          <p:cNvSpPr txBox="1">
            <a:spLocks/>
          </p:cNvSpPr>
          <p:nvPr/>
        </p:nvSpPr>
        <p:spPr>
          <a:xfrm>
            <a:off x="5416708" y="1761741"/>
            <a:ext cx="4687892" cy="207559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sv-SE" sz="2000" b="1" u="sng" dirty="0" err="1"/>
              <a:t>Budpriser</a:t>
            </a:r>
            <a:endParaRPr lang="sv-SE" sz="2000" b="1" u="sng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Tillfälligt abonnemang: 244 kr/MW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Max: 2000 kr/MW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Min: 100 kr/MW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/>
              <a:t>Medel: 1190 kr/MW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sz="2000" b="1" dirty="0" err="1"/>
              <a:t>Mean</a:t>
            </a:r>
            <a:r>
              <a:rPr lang="sv-SE" sz="2000" b="1" dirty="0"/>
              <a:t>: 1499 kr/MW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DA861788-138F-4129-BB32-F12C4687C6E7}"/>
              </a:ext>
            </a:extLst>
          </p:cNvPr>
          <p:cNvSpPr txBox="1"/>
          <p:nvPr/>
        </p:nvSpPr>
        <p:spPr>
          <a:xfrm>
            <a:off x="10466720" y="6426200"/>
            <a:ext cx="1725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Preliminära data</a:t>
            </a:r>
          </a:p>
        </p:txBody>
      </p:sp>
    </p:spTree>
    <p:extLst>
      <p:ext uri="{BB962C8B-B14F-4D97-AF65-F5344CB8AC3E}">
        <p14:creationId xmlns:p14="http://schemas.microsoft.com/office/powerpoint/2010/main" val="39368195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76EAE85-3B6A-4807-8EDA-95547C0E3E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8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76EAE85-3B6A-4807-8EDA-95547C0E3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ktangel: rundade hörn 53">
            <a:extLst>
              <a:ext uri="{FF2B5EF4-FFF2-40B4-BE49-F238E27FC236}">
                <a16:creationId xmlns:a16="http://schemas.microsoft.com/office/drawing/2014/main" id="{FB8C49C8-9F4A-4146-8130-FD4CC7F81AF7}"/>
              </a:ext>
            </a:extLst>
          </p:cNvPr>
          <p:cNvSpPr/>
          <p:nvPr/>
        </p:nvSpPr>
        <p:spPr>
          <a:xfrm>
            <a:off x="396401" y="1458432"/>
            <a:ext cx="9634836" cy="2411655"/>
          </a:xfrm>
          <a:prstGeom prst="round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4" name="Rektangel 83">
            <a:extLst>
              <a:ext uri="{FF2B5EF4-FFF2-40B4-BE49-F238E27FC236}">
                <a16:creationId xmlns:a16="http://schemas.microsoft.com/office/drawing/2014/main" id="{902AE32A-523D-48C3-B5C5-289266FB9E1D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6949AE93-EBD5-4556-8E9B-309347EB0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938" y="365126"/>
            <a:ext cx="9465302" cy="763642"/>
          </a:xfrm>
        </p:spPr>
        <p:txBody>
          <a:bodyPr vert="horz">
            <a:normAutofit/>
          </a:bodyPr>
          <a:lstStyle/>
          <a:p>
            <a:r>
              <a:rPr lang="sv-SE" sz="4000" dirty="0"/>
              <a:t>Marknadsstatistik December: </a:t>
            </a:r>
            <a:r>
              <a:rPr lang="sv-SE" sz="4000" b="1" dirty="0" err="1"/>
              <a:t>LongFlex</a:t>
            </a:r>
            <a:endParaRPr lang="sv-SE" sz="4000" b="1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F727567-0158-45CD-ACA6-8A5E790CB5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6402" y="2036805"/>
            <a:ext cx="9634835" cy="1254908"/>
          </a:xfrm>
          <a:noFill/>
          <a:ln>
            <a:noFill/>
          </a:ln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sv-SE" sz="2000" b="1" u="sng" dirty="0"/>
              <a:t>Inga avrop har skett</a:t>
            </a:r>
          </a:p>
          <a:p>
            <a:pPr marL="0" indent="0">
              <a:spcBef>
                <a:spcPts val="300"/>
              </a:spcBef>
              <a:buNone/>
            </a:pPr>
            <a:endParaRPr lang="sv-SE" sz="1100" b="1" dirty="0"/>
          </a:p>
        </p:txBody>
      </p:sp>
      <p:pic>
        <p:nvPicPr>
          <p:cNvPr id="87" name="Platshållare för innehåll 3">
            <a:extLst>
              <a:ext uri="{FF2B5EF4-FFF2-40B4-BE49-F238E27FC236}">
                <a16:creationId xmlns:a16="http://schemas.microsoft.com/office/drawing/2014/main" id="{25DB210A-B1FC-40F3-9E55-2E29E14AFE7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735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3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4.95123220189682466952E+00&quot;&gt;&lt;m_msothmcolidx val=&quot;0&quot;/&gt;&lt;m_rgb r=&quot;13&quot; g=&quot;A0&quot; b=&quot;03&quot;/&gt;&lt;/elem&gt;&lt;elem m_fUsage=&quot;4.22771397872348408953E+00&quot;&gt;&lt;m_msothmcolidx val=&quot;0&quot;/&gt;&lt;m_rgb r=&quot;F2&quot; g=&quot;00&quot; b=&quot;00&quot;/&gt;&lt;/elem&gt;&lt;elem m_fUsage=&quot;5.42925429935999237507E-01&quot;&gt;&lt;m_msothmcolidx val=&quot;0&quot;/&gt;&lt;m_rgb r=&quot;31&quot; g=&quot;C8&quot; b=&quot;2D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658238B8EC0649BE70EB865B6827FB" ma:contentTypeVersion="16" ma:contentTypeDescription="Opprett et nytt dokument." ma:contentTypeScope="" ma:versionID="4710c3045341e51fbcd92e90a9155391">
  <xsd:schema xmlns:xsd="http://www.w3.org/2001/XMLSchema" xmlns:xs="http://www.w3.org/2001/XMLSchema" xmlns:p="http://schemas.microsoft.com/office/2006/metadata/properties" xmlns:ns2="45383704-fa8e-417a-a947-35877ae54e25" xmlns:ns3="7687abff-f8ea-4183-b9a3-51c2b420dbf9" targetNamespace="http://schemas.microsoft.com/office/2006/metadata/properties" ma:root="true" ma:fieldsID="1877533df0287eb4678901221a33454e" ns2:_="" ns3:_="">
    <xsd:import namespace="45383704-fa8e-417a-a947-35877ae54e25"/>
    <xsd:import namespace="7687abff-f8ea-4183-b9a3-51c2b420db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383704-fa8e-417a-a947-35877ae54e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emerkelapper" ma:readOnly="false" ma:fieldId="{5cf76f15-5ced-4ddc-b409-7134ff3c332f}" ma:taxonomyMulti="true" ma:sspId="c6bfcca0-35c0-48e3-be63-75b2ba1abc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7abff-f8ea-4183-b9a3-51c2b420dbf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24ccfd6-cc49-43b3-b161-23e72506a66a}" ma:internalName="TaxCatchAll" ma:showField="CatchAllData" ma:web="7687abff-f8ea-4183-b9a3-51c2b420db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5383704-fa8e-417a-a947-35877ae54e25">
      <Terms xmlns="http://schemas.microsoft.com/office/infopath/2007/PartnerControls"/>
    </lcf76f155ced4ddcb4097134ff3c332f>
    <TaxCatchAll xmlns="7687abff-f8ea-4183-b9a3-51c2b420dbf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71B21A-E333-42B2-B74E-4D60E84C5C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383704-fa8e-417a-a947-35877ae54e25"/>
    <ds:schemaRef ds:uri="7687abff-f8ea-4183-b9a3-51c2b420db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E889436-AD12-4C23-9FA6-50F23C1977D4}">
  <ds:schemaRefs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microsoft.com/office/2006/documentManagement/types"/>
    <ds:schemaRef ds:uri="45383704-fa8e-417a-a947-35877ae54e25"/>
    <ds:schemaRef ds:uri="7687abff-f8ea-4183-b9a3-51c2b420dbf9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B2CA25D-F35D-40CF-86F7-225C16E5A60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499</Words>
  <Application>Microsoft Office PowerPoint</Application>
  <PresentationFormat>Bredbild</PresentationFormat>
  <Paragraphs>52</Paragraphs>
  <Slides>6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-tema</vt:lpstr>
      <vt:lpstr>think-cell Slide</vt:lpstr>
      <vt:lpstr>PowerPoint-presentation</vt:lpstr>
      <vt:lpstr>Välkomna!</vt:lpstr>
      <vt:lpstr>Dialogmöte: informera och diskutera avrop, tillgänglighetsavrop och marknadsläget under nuvarande säsongen </vt:lpstr>
      <vt:lpstr>Marknadsstatistik December: ShortFlex Availability</vt:lpstr>
      <vt:lpstr>Marknadsstatistik December: Avrop</vt:lpstr>
      <vt:lpstr>Marknadsstatistik December: LongFle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gnus Westman Larsson</dc:creator>
  <cp:lastModifiedBy>Nobel, Maria</cp:lastModifiedBy>
  <cp:revision>366</cp:revision>
  <cp:lastPrinted>2022-04-19T15:50:17Z</cp:lastPrinted>
  <dcterms:created xsi:type="dcterms:W3CDTF">2022-04-12T11:36:15Z</dcterms:created>
  <dcterms:modified xsi:type="dcterms:W3CDTF">2023-04-18T14:4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658238B8EC0649BE70EB865B6827FB</vt:lpwstr>
  </property>
  <property fmtid="{D5CDD505-2E9C-101B-9397-08002B2CF9AE}" pid="3" name="MediaServiceImageTags">
    <vt:lpwstr/>
  </property>
  <property fmtid="{D5CDD505-2E9C-101B-9397-08002B2CF9AE}" pid="4" name="MSIP_Label_e4aaaee5-c84d-4c37-ab3c-99d07fb6d639_Enabled">
    <vt:lpwstr>true</vt:lpwstr>
  </property>
  <property fmtid="{D5CDD505-2E9C-101B-9397-08002B2CF9AE}" pid="5" name="MSIP_Label_e4aaaee5-c84d-4c37-ab3c-99d07fb6d639_SetDate">
    <vt:lpwstr>2023-01-25T09:26:27Z</vt:lpwstr>
  </property>
  <property fmtid="{D5CDD505-2E9C-101B-9397-08002B2CF9AE}" pid="6" name="MSIP_Label_e4aaaee5-c84d-4c37-ab3c-99d07fb6d639_Method">
    <vt:lpwstr>Privileged</vt:lpwstr>
  </property>
  <property fmtid="{D5CDD505-2E9C-101B-9397-08002B2CF9AE}" pid="7" name="MSIP_Label_e4aaaee5-c84d-4c37-ab3c-99d07fb6d639_Name">
    <vt:lpwstr>e4aaaee5-c84d-4c37-ab3c-99d07fb6d639</vt:lpwstr>
  </property>
  <property fmtid="{D5CDD505-2E9C-101B-9397-08002B2CF9AE}" pid="8" name="MSIP_Label_e4aaaee5-c84d-4c37-ab3c-99d07fb6d639_SiteId">
    <vt:lpwstr>f8be18a6-f648-4a47-be73-86d6c5c6604d</vt:lpwstr>
  </property>
  <property fmtid="{D5CDD505-2E9C-101B-9397-08002B2CF9AE}" pid="9" name="MSIP_Label_e4aaaee5-c84d-4c37-ab3c-99d07fb6d639_ActionId">
    <vt:lpwstr>56f50f98-af30-4a5f-b754-57818594eb37</vt:lpwstr>
  </property>
  <property fmtid="{D5CDD505-2E9C-101B-9397-08002B2CF9AE}" pid="10" name="MSIP_Label_e4aaaee5-c84d-4c37-ab3c-99d07fb6d639_ContentBits">
    <vt:lpwstr>2</vt:lpwstr>
  </property>
</Properties>
</file>